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13"/>
  </p:notesMasterIdLst>
  <p:handoutMasterIdLst>
    <p:handoutMasterId r:id="rId14"/>
  </p:handoutMasterIdLst>
  <p:sldIdLst>
    <p:sldId id="4250" r:id="rId3"/>
    <p:sldId id="4251" r:id="rId4"/>
    <p:sldId id="4252" r:id="rId5"/>
    <p:sldId id="4248" r:id="rId6"/>
    <p:sldId id="4254" r:id="rId7"/>
    <p:sldId id="4256" r:id="rId8"/>
    <p:sldId id="4257" r:id="rId9"/>
    <p:sldId id="4258" r:id="rId10"/>
    <p:sldId id="4255" r:id="rId11"/>
    <p:sldId id="4259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bst, Daniel Joseph - (dherbst)" initials="HDJ(" lastIdx="9" clrIdx="0">
    <p:extLst>
      <p:ext uri="{19B8F6BF-5375-455C-9EA6-DF929625EA0E}">
        <p15:presenceInfo xmlns:p15="http://schemas.microsoft.com/office/powerpoint/2012/main" userId="S::dherbst@email.arizona.edu::128df794-e149-4fe4-a729-4fb1dcbc6796" providerId="AD"/>
      </p:ext>
    </p:extLst>
  </p:cmAuthor>
  <p:cmAuthor id="2" name="Hendren, Nathaniel" initials="HN" lastIdx="1" clrIdx="1">
    <p:extLst>
      <p:ext uri="{19B8F6BF-5375-455C-9EA6-DF929625EA0E}">
        <p15:presenceInfo xmlns:p15="http://schemas.microsoft.com/office/powerpoint/2012/main" userId="S::nhendren@fas.harvard.edu::40245924-1cf9-40a7-be0d-1e45cf17c1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32123"/>
    <a:srgbClr val="2E8B56"/>
    <a:srgbClr val="1874CE"/>
    <a:srgbClr val="548B54"/>
    <a:srgbClr val="1874CD"/>
    <a:srgbClr val="B22222"/>
    <a:srgbClr val="008B45"/>
    <a:srgbClr val="4682B4"/>
    <a:srgbClr val="43CD80"/>
    <a:srgbClr val="7CCD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4" autoAdjust="0"/>
    <p:restoredTop sz="96327" autoAdjust="0"/>
  </p:normalViewPr>
  <p:slideViewPr>
    <p:cSldViewPr snapToGrid="0">
      <p:cViewPr>
        <p:scale>
          <a:sx n="100" d="100"/>
          <a:sy n="100" d="100"/>
        </p:scale>
        <p:origin x="704" y="672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notesViewPr>
    <p:cSldViewPr snapToGrid="0">
      <p:cViewPr varScale="1">
        <p:scale>
          <a:sx n="144" d="100"/>
          <a:sy n="144" d="100"/>
        </p:scale>
        <p:origin x="65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9/5/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9/5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6176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182918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727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125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059144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352848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2332935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119028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3028592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3087810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375706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844D06A-8494-CF4E-8332-169DB91B3E94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AD5BC3-5F86-EE44-9D6F-3BFB68E71541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FBF994-FFFA-1747-BE02-EE55CB067E3E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2DE70B-9F26-B647-9416-8D19A1C265F6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557FB2-C085-424B-BEDF-F4AC433C1BDA}"/>
              </a:ext>
            </a:extLst>
          </p:cNvPr>
          <p:cNvCxnSpPr>
            <a:cxnSpLocks/>
          </p:cNvCxnSpPr>
          <p:nvPr/>
        </p:nvCxnSpPr>
        <p:spPr>
          <a:xfrm>
            <a:off x="3831991" y="5006324"/>
            <a:ext cx="861512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F80422-6A4B-354E-85CC-87734C613FA3}"/>
              </a:ext>
            </a:extLst>
          </p:cNvPr>
          <p:cNvCxnSpPr>
            <a:cxnSpLocks/>
          </p:cNvCxnSpPr>
          <p:nvPr/>
        </p:nvCxnSpPr>
        <p:spPr>
          <a:xfrm>
            <a:off x="3149116" y="5088290"/>
            <a:ext cx="698807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C6F733-DBB0-6A4A-8EB3-EE624C1A40F3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E2099-BDC0-F345-8161-EA199C38507F}"/>
              </a:ext>
            </a:extLst>
          </p:cNvPr>
          <p:cNvCxnSpPr>
            <a:cxnSpLocks/>
          </p:cNvCxnSpPr>
          <p:nvPr/>
        </p:nvCxnSpPr>
        <p:spPr>
          <a:xfrm flipV="1">
            <a:off x="3859646" y="5003009"/>
            <a:ext cx="0" cy="76295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9B547C-E10B-8847-B53B-392EFC2D7C2E}"/>
              </a:ext>
            </a:extLst>
          </p:cNvPr>
          <p:cNvCxnSpPr>
            <a:cxnSpLocks/>
          </p:cNvCxnSpPr>
          <p:nvPr/>
        </p:nvCxnSpPr>
        <p:spPr>
          <a:xfrm flipV="1">
            <a:off x="3182053" y="5041133"/>
            <a:ext cx="0" cy="137160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1EBE13-FDF7-CD46-A7C9-EFF980760804}"/>
              </a:ext>
            </a:extLst>
          </p:cNvPr>
          <p:cNvCxnSpPr>
            <a:cxnSpLocks/>
          </p:cNvCxnSpPr>
          <p:nvPr/>
        </p:nvCxnSpPr>
        <p:spPr>
          <a:xfrm>
            <a:off x="2597417" y="5172030"/>
            <a:ext cx="584636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43368C-FAE9-E643-B26A-B56FC6F33AF8}"/>
              </a:ext>
            </a:extLst>
          </p:cNvPr>
          <p:cNvCxnSpPr>
            <a:cxnSpLocks/>
          </p:cNvCxnSpPr>
          <p:nvPr/>
        </p:nvCxnSpPr>
        <p:spPr>
          <a:xfrm flipV="1">
            <a:off x="5883444" y="4689546"/>
            <a:ext cx="0" cy="175363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CC82B06-ACCA-C14B-A9E3-90E12240DB07}"/>
              </a:ext>
            </a:extLst>
          </p:cNvPr>
          <p:cNvCxnSpPr>
            <a:cxnSpLocks/>
          </p:cNvCxnSpPr>
          <p:nvPr/>
        </p:nvCxnSpPr>
        <p:spPr>
          <a:xfrm flipV="1">
            <a:off x="2645522" y="5137166"/>
            <a:ext cx="0" cy="11837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38675F9-0068-0546-A4B8-D5A5A40C7FD0}"/>
              </a:ext>
            </a:extLst>
          </p:cNvPr>
          <p:cNvCxnSpPr>
            <a:cxnSpLocks/>
          </p:cNvCxnSpPr>
          <p:nvPr/>
        </p:nvCxnSpPr>
        <p:spPr>
          <a:xfrm>
            <a:off x="2060886" y="5255537"/>
            <a:ext cx="536531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F25A35F7-9CFE-E147-9798-F25F10F12112}"/>
              </a:ext>
            </a:extLst>
          </p:cNvPr>
          <p:cNvSpPr/>
          <p:nvPr/>
        </p:nvSpPr>
        <p:spPr>
          <a:xfrm>
            <a:off x="5831475" y="4621322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A575798-35F1-8E45-BE0A-A910FF43B8EA}"/>
              </a:ext>
            </a:extLst>
          </p:cNvPr>
          <p:cNvSpPr txBox="1"/>
          <p:nvPr/>
        </p:nvSpPr>
        <p:spPr>
          <a:xfrm>
            <a:off x="1525582" y="3854430"/>
            <a:ext cx="36723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ocess continues and the market fully unravels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D973900-E609-CA43-AFBF-BC1877F36E8C}"/>
              </a:ext>
            </a:extLst>
          </p:cNvPr>
          <p:cNvCxnSpPr>
            <a:cxnSpLocks/>
          </p:cNvCxnSpPr>
          <p:nvPr/>
        </p:nvCxnSpPr>
        <p:spPr>
          <a:xfrm>
            <a:off x="2549219" y="4526310"/>
            <a:ext cx="558269" cy="51482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47A5D39-1D1F-4847-A2C8-0023AE19EE37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CEF979-8BAD-5C41-B3B2-3410B79C8666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5374C3-7BC5-D14E-920A-1942CD66296E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5B0B62-E24E-9D4B-BD25-AE9585A0053A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67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E46381-DBBF-C243-9CF2-C88CD1A4A13F}"/>
              </a:ext>
            </a:extLst>
          </p:cNvPr>
          <p:cNvCxnSpPr>
            <a:cxnSpLocks/>
          </p:cNvCxnSpPr>
          <p:nvPr/>
        </p:nvCxnSpPr>
        <p:spPr>
          <a:xfrm flipV="1">
            <a:off x="5889647" y="4413944"/>
            <a:ext cx="0" cy="407324"/>
          </a:xfrm>
          <a:prstGeom prst="lin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6250BC-CF57-0941-A3F5-422656D4BF57}"/>
              </a:ext>
            </a:extLst>
          </p:cNvPr>
          <p:cNvSpPr txBox="1"/>
          <p:nvPr/>
        </p:nvSpPr>
        <p:spPr>
          <a:xfrm>
            <a:off x="6488482" y="4972805"/>
            <a:ext cx="3824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 the average earnings of those with below-median expectations is $12K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18C835-624C-BD43-BB8B-4DF126040B8F}"/>
              </a:ext>
            </a:extLst>
          </p:cNvPr>
          <p:cNvCxnSpPr>
            <a:cxnSpLocks/>
          </p:cNvCxnSpPr>
          <p:nvPr/>
        </p:nvCxnSpPr>
        <p:spPr>
          <a:xfrm flipH="1" flipV="1">
            <a:off x="5984111" y="4972805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E07D294-0BF5-4240-99E9-5B258C9CB413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55C9C6-5713-584D-A00D-5126DE9E17A4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B65F73-EBF0-3943-ABAD-FFF32E6B5992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253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E46381-DBBF-C243-9CF2-C88CD1A4A13F}"/>
              </a:ext>
            </a:extLst>
          </p:cNvPr>
          <p:cNvCxnSpPr>
            <a:cxnSpLocks/>
          </p:cNvCxnSpPr>
          <p:nvPr/>
        </p:nvCxnSpPr>
        <p:spPr>
          <a:xfrm flipV="1">
            <a:off x="5889647" y="4413944"/>
            <a:ext cx="0" cy="407324"/>
          </a:xfrm>
          <a:prstGeom prst="lin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6250BC-CF57-0941-A3F5-422656D4BF57}"/>
              </a:ext>
            </a:extLst>
          </p:cNvPr>
          <p:cNvSpPr txBox="1"/>
          <p:nvPr/>
        </p:nvSpPr>
        <p:spPr>
          <a:xfrm>
            <a:off x="6488482" y="4972805"/>
            <a:ext cx="3453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 a stake in their earnings is worth only $12K to financier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18C835-624C-BD43-BB8B-4DF126040B8F}"/>
              </a:ext>
            </a:extLst>
          </p:cNvPr>
          <p:cNvCxnSpPr>
            <a:cxnSpLocks/>
          </p:cNvCxnSpPr>
          <p:nvPr/>
        </p:nvCxnSpPr>
        <p:spPr>
          <a:xfrm flipH="1" flipV="1">
            <a:off x="5984111" y="4972805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74FF32C-F294-AD4E-ACFC-E8BDB16EDDE8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390AF70-843A-B544-A378-3CAD74B6FE4D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5DDA75-7C92-A241-8B28-78C438909236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13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31DA53-F839-2844-98B5-24B82E00385F}"/>
              </a:ext>
            </a:extLst>
          </p:cNvPr>
          <p:cNvSpPr txBox="1"/>
          <p:nvPr/>
        </p:nvSpPr>
        <p:spPr>
          <a:xfrm>
            <a:off x="4334581" y="3490585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individual’s WTA is $16K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DEBB591-E4F1-2349-A192-84F522E0732C}"/>
              </a:ext>
            </a:extLst>
          </p:cNvPr>
          <p:cNvCxnSpPr>
            <a:cxnSpLocks/>
          </p:cNvCxnSpPr>
          <p:nvPr/>
        </p:nvCxnSpPr>
        <p:spPr>
          <a:xfrm flipH="1">
            <a:off x="5902756" y="3903044"/>
            <a:ext cx="201098" cy="670041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75D5C2-2015-274B-A545-0178D8C29ECE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EBF5F68-0CEE-4347-BCB8-27C7E9BFD965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36F5EA-3FED-C14E-BC59-ED06C118FF19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59AF94-8C4D-0346-A18E-038C104CDCF8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91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2AB0E-5877-6E45-8700-3D5ABEB06051}"/>
              </a:ext>
            </a:extLst>
          </p:cNvPr>
          <p:cNvSpPr txBox="1"/>
          <p:nvPr/>
        </p:nvSpPr>
        <p:spPr>
          <a:xfrm>
            <a:off x="6488482" y="4972805"/>
            <a:ext cx="3453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nancier </a:t>
            </a:r>
            <a:r>
              <a:rPr lang="en-US" i="1" dirty="0"/>
              <a:t>loses</a:t>
            </a:r>
            <a:r>
              <a:rPr lang="en-US" dirty="0"/>
              <a:t> 25% </a:t>
            </a:r>
            <a:br>
              <a:rPr lang="en-US" dirty="0"/>
            </a:br>
            <a:r>
              <a:rPr lang="en-US" dirty="0"/>
              <a:t>($4K for every $16K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820F3D7-4D2D-0749-A4FC-A7D3C924D23F}"/>
              </a:ext>
            </a:extLst>
          </p:cNvPr>
          <p:cNvCxnSpPr>
            <a:cxnSpLocks/>
          </p:cNvCxnSpPr>
          <p:nvPr/>
        </p:nvCxnSpPr>
        <p:spPr>
          <a:xfrm flipH="1" flipV="1">
            <a:off x="5951983" y="4774521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8996D7-C905-D54B-8F7D-11B7D01062EE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CA1816-E586-2B43-A09E-984AD1C8DE40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008781C-7280-5340-8CFB-04C6DE687046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D79AB1-18C9-EB45-AD3A-96937FA42014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46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2AB0E-5877-6E45-8700-3D5ABEB06051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820F3D7-4D2D-0749-A4FC-A7D3C924D23F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8176552-701B-9D4F-A5CE-4035C405019F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06558D-71EC-014F-9849-B0D6AD9DD44D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21F680-B74E-0A42-849B-C59468454C0F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339DCE-6FF8-7941-A1E7-2BF4BB9126B0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360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E2540BD-047D-2F47-AD57-B62EAAF02B60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8F1A632-BC8B-2442-87D6-7B4672D7B2D1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18B92BF-554B-9047-A1A1-9D45CE43D19A}"/>
              </a:ext>
            </a:extLst>
          </p:cNvPr>
          <p:cNvSpPr txBox="1"/>
          <p:nvPr/>
        </p:nvSpPr>
        <p:spPr>
          <a:xfrm>
            <a:off x="5288473" y="5065627"/>
            <a:ext cx="3948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 now average earnings of those accepting the contract is just $10K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9A0B438-6E14-5248-909E-E7D158FB48FB}"/>
              </a:ext>
            </a:extLst>
          </p:cNvPr>
          <p:cNvCxnSpPr>
            <a:cxnSpLocks/>
          </p:cNvCxnSpPr>
          <p:nvPr/>
        </p:nvCxnSpPr>
        <p:spPr>
          <a:xfrm flipH="1" flipV="1">
            <a:off x="4753023" y="5021920"/>
            <a:ext cx="535450" cy="336106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510C177-2CC8-0E41-BE59-7841105A42F4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236D825-AA63-3342-8B37-3CA9D4CF4DC9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2E7860-7BDE-E84D-8613-14BF352E07EE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80EE20-3E0C-A84B-9833-12FDC7ACFF82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497E6E-79AE-2F4F-B3C2-67868E43215C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488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E2540BD-047D-2F47-AD57-B62EAAF02B60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8F1A632-BC8B-2442-87D6-7B4672D7B2D1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18B92BF-554B-9047-A1A1-9D45CE43D19A}"/>
              </a:ext>
            </a:extLst>
          </p:cNvPr>
          <p:cNvSpPr txBox="1"/>
          <p:nvPr/>
        </p:nvSpPr>
        <p:spPr>
          <a:xfrm>
            <a:off x="5288473" y="5065627"/>
            <a:ext cx="3948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financier again </a:t>
            </a:r>
            <a:r>
              <a:rPr lang="en-US" i="1" dirty="0"/>
              <a:t>loses</a:t>
            </a:r>
            <a:r>
              <a:rPr lang="en-US" dirty="0"/>
              <a:t> money: $2K for every $12K of financing they offer…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9A0B438-6E14-5248-909E-E7D158FB48FB}"/>
              </a:ext>
            </a:extLst>
          </p:cNvPr>
          <p:cNvCxnSpPr>
            <a:cxnSpLocks/>
          </p:cNvCxnSpPr>
          <p:nvPr/>
        </p:nvCxnSpPr>
        <p:spPr>
          <a:xfrm flipH="1" flipV="1">
            <a:off x="4753023" y="5021920"/>
            <a:ext cx="535450" cy="336106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510C177-2CC8-0E41-BE59-7841105A42F4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23B17B4-B474-9347-AF2B-FBF0BB6A4773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C1360-C986-0243-8B69-A9CB92E2522F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E35B11-C318-E841-BC9E-6FFDD636930A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FF9C6E-157B-8849-939B-086B792B05B4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947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2DE70B-9F26-B647-9416-8D19A1C265F6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557FB2-C085-424B-BEDF-F4AC433C1BDA}"/>
              </a:ext>
            </a:extLst>
          </p:cNvPr>
          <p:cNvCxnSpPr>
            <a:cxnSpLocks/>
          </p:cNvCxnSpPr>
          <p:nvPr/>
        </p:nvCxnSpPr>
        <p:spPr>
          <a:xfrm>
            <a:off x="3831991" y="5006324"/>
            <a:ext cx="861512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F80422-6A4B-354E-85CC-87734C613FA3}"/>
              </a:ext>
            </a:extLst>
          </p:cNvPr>
          <p:cNvCxnSpPr>
            <a:cxnSpLocks/>
          </p:cNvCxnSpPr>
          <p:nvPr/>
        </p:nvCxnSpPr>
        <p:spPr>
          <a:xfrm>
            <a:off x="3149116" y="5088290"/>
            <a:ext cx="698807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C6F733-DBB0-6A4A-8EB3-EE624C1A40F3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E2099-BDC0-F345-8161-EA199C38507F}"/>
              </a:ext>
            </a:extLst>
          </p:cNvPr>
          <p:cNvCxnSpPr>
            <a:cxnSpLocks/>
          </p:cNvCxnSpPr>
          <p:nvPr/>
        </p:nvCxnSpPr>
        <p:spPr>
          <a:xfrm flipV="1">
            <a:off x="3859646" y="5003009"/>
            <a:ext cx="0" cy="76295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9B547C-E10B-8847-B53B-392EFC2D7C2E}"/>
              </a:ext>
            </a:extLst>
          </p:cNvPr>
          <p:cNvCxnSpPr>
            <a:cxnSpLocks/>
          </p:cNvCxnSpPr>
          <p:nvPr/>
        </p:nvCxnSpPr>
        <p:spPr>
          <a:xfrm flipV="1">
            <a:off x="3182053" y="5041133"/>
            <a:ext cx="0" cy="137160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1EBE13-FDF7-CD46-A7C9-EFF980760804}"/>
              </a:ext>
            </a:extLst>
          </p:cNvPr>
          <p:cNvCxnSpPr>
            <a:cxnSpLocks/>
          </p:cNvCxnSpPr>
          <p:nvPr/>
        </p:nvCxnSpPr>
        <p:spPr>
          <a:xfrm>
            <a:off x="2597417" y="5172030"/>
            <a:ext cx="584636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43368C-FAE9-E643-B26A-B56FC6F33AF8}"/>
              </a:ext>
            </a:extLst>
          </p:cNvPr>
          <p:cNvCxnSpPr>
            <a:cxnSpLocks/>
          </p:cNvCxnSpPr>
          <p:nvPr/>
        </p:nvCxnSpPr>
        <p:spPr>
          <a:xfrm flipV="1">
            <a:off x="5883444" y="4689546"/>
            <a:ext cx="0" cy="175363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CC82B06-ACCA-C14B-A9E3-90E12240DB07}"/>
              </a:ext>
            </a:extLst>
          </p:cNvPr>
          <p:cNvCxnSpPr>
            <a:cxnSpLocks/>
          </p:cNvCxnSpPr>
          <p:nvPr/>
        </p:nvCxnSpPr>
        <p:spPr>
          <a:xfrm flipV="1">
            <a:off x="2645522" y="5137166"/>
            <a:ext cx="0" cy="11837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38675F9-0068-0546-A4B8-D5A5A40C7FD0}"/>
              </a:ext>
            </a:extLst>
          </p:cNvPr>
          <p:cNvCxnSpPr>
            <a:cxnSpLocks/>
          </p:cNvCxnSpPr>
          <p:nvPr/>
        </p:nvCxnSpPr>
        <p:spPr>
          <a:xfrm>
            <a:off x="2060886" y="5255537"/>
            <a:ext cx="536531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F25A35F7-9CFE-E147-9798-F25F10F12112}"/>
              </a:ext>
            </a:extLst>
          </p:cNvPr>
          <p:cNvSpPr/>
          <p:nvPr/>
        </p:nvSpPr>
        <p:spPr>
          <a:xfrm>
            <a:off x="5831475" y="4621322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92DF349-8F2D-A943-AD8E-37F2E9BE828C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84CD78-6E8A-A14A-9C78-E98BE4D26A1C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7FF5299-13D0-1440-AD7D-5D32E479C9A1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A650FA-5D5D-DB4E-8A40-DA189F155585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461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850</TotalTime>
  <Words>206</Words>
  <Application>Microsoft Macintosh PowerPoint</Application>
  <PresentationFormat>Widescreen</PresentationFormat>
  <Paragraphs>4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Hendren, Nathaniel</cp:lastModifiedBy>
  <cp:revision>6473</cp:revision>
  <cp:lastPrinted>2021-06-22T23:42:33Z</cp:lastPrinted>
  <dcterms:created xsi:type="dcterms:W3CDTF">2017-09-25T22:39:41Z</dcterms:created>
  <dcterms:modified xsi:type="dcterms:W3CDTF">2021-09-06T14:48:12Z</dcterms:modified>
  <cp:category/>
</cp:coreProperties>
</file>